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7"/>
  </p:notesMasterIdLst>
  <p:sldIdLst>
    <p:sldId id="256" r:id="rId2"/>
    <p:sldId id="315" r:id="rId3"/>
    <p:sldId id="420" r:id="rId4"/>
    <p:sldId id="453" r:id="rId5"/>
    <p:sldId id="454" r:id="rId6"/>
    <p:sldId id="455" r:id="rId7"/>
    <p:sldId id="456" r:id="rId8"/>
    <p:sldId id="457" r:id="rId9"/>
    <p:sldId id="458" r:id="rId10"/>
    <p:sldId id="459" r:id="rId11"/>
    <p:sldId id="460" r:id="rId12"/>
    <p:sldId id="461" r:id="rId13"/>
    <p:sldId id="462" r:id="rId14"/>
    <p:sldId id="463" r:id="rId15"/>
    <p:sldId id="464" r:id="rId16"/>
    <p:sldId id="465" r:id="rId17"/>
    <p:sldId id="466" r:id="rId18"/>
    <p:sldId id="467" r:id="rId19"/>
    <p:sldId id="468" r:id="rId20"/>
    <p:sldId id="469" r:id="rId21"/>
    <p:sldId id="470" r:id="rId22"/>
    <p:sldId id="471" r:id="rId23"/>
    <p:sldId id="472" r:id="rId24"/>
    <p:sldId id="473" r:id="rId25"/>
    <p:sldId id="474" r:id="rId26"/>
    <p:sldId id="475" r:id="rId27"/>
    <p:sldId id="476" r:id="rId28"/>
    <p:sldId id="477" r:id="rId29"/>
    <p:sldId id="478" r:id="rId30"/>
    <p:sldId id="479" r:id="rId31"/>
    <p:sldId id="480" r:id="rId32"/>
    <p:sldId id="481" r:id="rId33"/>
    <p:sldId id="482" r:id="rId34"/>
    <p:sldId id="483" r:id="rId35"/>
    <p:sldId id="484" r:id="rId36"/>
    <p:sldId id="485" r:id="rId37"/>
    <p:sldId id="486" r:id="rId38"/>
    <p:sldId id="487" r:id="rId39"/>
    <p:sldId id="488" r:id="rId40"/>
    <p:sldId id="489" r:id="rId41"/>
    <p:sldId id="490" r:id="rId42"/>
    <p:sldId id="491" r:id="rId43"/>
    <p:sldId id="492" r:id="rId44"/>
    <p:sldId id="493" r:id="rId45"/>
    <p:sldId id="494" r:id="rId46"/>
    <p:sldId id="495" r:id="rId47"/>
    <p:sldId id="496" r:id="rId48"/>
    <p:sldId id="497" r:id="rId49"/>
    <p:sldId id="498" r:id="rId50"/>
    <p:sldId id="499" r:id="rId51"/>
    <p:sldId id="500" r:id="rId52"/>
    <p:sldId id="501" r:id="rId53"/>
    <p:sldId id="502" r:id="rId54"/>
    <p:sldId id="503" r:id="rId55"/>
    <p:sldId id="261" r:id="rId56"/>
  </p:sldIdLst>
  <p:sldSz cx="12192000" cy="6858000"/>
  <p:notesSz cx="6858000" cy="9144000"/>
  <p:custDataLst>
    <p:tags r:id="rId5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6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C"/>
    <a:srgbClr val="0000FF"/>
    <a:srgbClr val="07416B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196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8163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7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7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9.png"/><Relationship Id="rId4" Type="http://schemas.openxmlformats.org/officeDocument/2006/relationships/image" Target="../media/image8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3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256155"/>
            <a:ext cx="4424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修改Redis配置文件，设置密码验证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35150" y="4996815"/>
            <a:ext cx="885380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输入密码则成功进入当前数据库，这种方式每次进入当前数据库的时候都需要输入密码，还有一种简单的方式。直接登录数据库并授权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35150" y="2591435"/>
            <a:ext cx="4551045" cy="30670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编辑redis.conf文件，添加requirepass值修改密码，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415" y="2891155"/>
            <a:ext cx="1755775" cy="244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923415" y="3191510"/>
            <a:ext cx="76142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上配置修改Redis的访问密码为123，读者可以根据实际需要进行密码的修改。重启服务器后，再次进入Redis客户端输入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3415" y="3711575"/>
            <a:ext cx="3619500" cy="4191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923415" y="4201795"/>
            <a:ext cx="72771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会发现没有权限进入当前数据库,需要使用AUTH命令进行授权操作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3415" y="4531360"/>
            <a:ext cx="2238375" cy="4191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3415" y="5495290"/>
            <a:ext cx="4829175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923415" y="5768340"/>
            <a:ext cx="876617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在本例中我们修改Redis服务器的密码，设置了连接的密码是123。建议此种方式设置密码，重启Redis服务后就可以使用设置好的密码连接Redis服务器了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449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>
                <a:sym typeface="+mn-ea"/>
              </a:rPr>
              <a:t>Redis </a:t>
            </a:r>
            <a:r>
              <a:rPr lang="zh-CN" altLang="en-US">
                <a:sym typeface="+mn-ea"/>
              </a:rPr>
              <a:t>端口修改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78078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 默认的端口是6379，在redis.conf配置文件里搜索6379 就能找到port参数配置，</a:t>
            </a:r>
          </a:p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如下所示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08325"/>
            <a:ext cx="6124575" cy="6477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3837305"/>
            <a:ext cx="77857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修改成指定的端口，不要端口冲突就行。启动Redis服务器后，可以使用ps -ef | grep redis命令查看Redis服务器占用的端口。</a:t>
            </a:r>
          </a:p>
        </p:txBody>
      </p:sp>
      <p:pic>
        <p:nvPicPr>
          <p:cNvPr id="65" name="图片 6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4563428"/>
            <a:ext cx="5274310" cy="4235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23720" y="5068570"/>
            <a:ext cx="57086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从上图中可以看出现在Redis Server使用的端口是6379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查看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42424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通过 CONFIG GET 命令查看配置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0403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GET命令基本语法: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188970"/>
            <a:ext cx="3990975" cy="2095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200" y="4133215"/>
            <a:ext cx="3124200" cy="62865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修改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67487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>
                <a:sym typeface="+mn-ea"/>
              </a:rPr>
              <a:t>可以通过修改redis.conf文件或使用 CONFIG SET命令来修改配置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76270"/>
            <a:ext cx="5838825" cy="2095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3998595"/>
            <a:ext cx="3952875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1. Redis默认不是以守护进程的方式运行的，可以通过daemonize配置项修改，如果指定为yes表示启用守护进程，可以在Linux启动时自动运行Redis，将Redis服务作为守护进程（daemon）来运行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813810"/>
            <a:ext cx="1343025" cy="2190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13321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2. 当Redis以守护进程方式运行时，Redis默认会把pid写入/var/run/redis.pid文件，可以通过pidfile指定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4060" y="4540250"/>
            <a:ext cx="2381250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29740" y="4840605"/>
            <a:ext cx="34264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3. 指定Redis监听端口，默认端口为6379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4060" y="5203190"/>
            <a:ext cx="9429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547995"/>
            <a:ext cx="532320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4. 绑定的主机地址，可以用于限制连接，默认只能本机访问Redis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4060" y="5875655"/>
            <a:ext cx="1447800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5</a:t>
            </a:r>
            <a:r>
              <a:rPr lang="zh-CN" altLang="en-US" sz="1400">
                <a:sym typeface="+mn-ea"/>
              </a:rPr>
              <a:t>. 设定Redis客户端闲置多长时间后关闭连接，如果指定为0，表示关闭该功能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380555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6</a:t>
            </a:r>
            <a:r>
              <a:rPr lang="zh-CN" altLang="en-US" sz="1400">
                <a:sym typeface="+mn-ea"/>
              </a:rPr>
              <a:t>. 设定日志的记录级别，Redis支持四个级别：debug、verbose、notice、warning，默认为verbose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729740" y="4391025"/>
            <a:ext cx="515874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7</a:t>
            </a:r>
            <a:r>
              <a:rPr lang="zh-CN" altLang="en-US" sz="1400">
                <a:sym typeface="+mn-ea"/>
              </a:rPr>
              <a:t>. Redis日志文件的保存路径，如果为“”就默认为标准输出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976495"/>
            <a:ext cx="70440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8</a:t>
            </a:r>
            <a:r>
              <a:rPr lang="zh-CN" altLang="en-US" sz="1400">
                <a:sym typeface="+mn-ea"/>
              </a:rPr>
              <a:t>. 设定数据库的数量，默认数据库为0，可以使用SELECT命令来连接上指定的数据库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9935" y="3533140"/>
            <a:ext cx="1171575" cy="200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935" y="4133215"/>
            <a:ext cx="1543050" cy="2190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9935" y="4694555"/>
            <a:ext cx="933450" cy="23812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9935" y="5304155"/>
            <a:ext cx="1114425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9</a:t>
            </a:r>
            <a:r>
              <a:rPr lang="zh-CN" altLang="en-US" sz="1400">
                <a:sym typeface="+mn-ea"/>
              </a:rPr>
              <a:t>. 指定在多长时间内，有多少次执行更新操作，Redis就将数据同步到数据文件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598545"/>
            <a:ext cx="21336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981200" y="3877310"/>
            <a:ext cx="5080000" cy="252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默认配置文件中设置了三个触发条件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3115" y="4351020"/>
            <a:ext cx="1466850" cy="10287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625850" y="4209097"/>
            <a:ext cx="5080000" cy="1296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900 1</a:t>
            </a:r>
            <a:r>
              <a:rPr lang="en-US" altLang="zh-CN" sz="1400">
                <a:sym typeface="+mn-ea"/>
              </a:rPr>
              <a:t>表示900秒（15分钟）内有1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300 10</a:t>
            </a:r>
            <a:r>
              <a:rPr lang="en-US" altLang="zh-CN" sz="1400">
                <a:sym typeface="+mn-ea"/>
              </a:rPr>
              <a:t>表示300秒（5分钟）内有10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60 10000</a:t>
            </a:r>
            <a:r>
              <a:rPr lang="en-US" altLang="zh-CN" sz="1400">
                <a:sym typeface="+mn-ea"/>
              </a:rPr>
              <a:t>表示60秒内有10000个更改，Redis就将数据同步到数据文件中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0</a:t>
            </a:r>
            <a:r>
              <a:rPr lang="zh-CN" altLang="en-US" sz="1400">
                <a:sym typeface="+mn-ea"/>
              </a:rPr>
              <a:t>. 对于存储到磁盘中的Redis快照，可以设置是否进行压缩存储，默认值是yes。如果是yes的话，Redis会采用LZF压缩算法对存储到磁盘中的Redis快照进行压缩。如果不想消耗CPU来进行压缩快照的话，可以设置为no来关闭该选项，但是存储在磁盘上的快照会比较大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940175"/>
            <a:ext cx="15716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4156710"/>
            <a:ext cx="4626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1. 指定存储的本地数据库的文件名，默认值为dump.rdb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479290"/>
            <a:ext cx="1724025" cy="20955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705985"/>
            <a:ext cx="252095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2. 指定本地数据库存放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014595"/>
            <a:ext cx="2133600" cy="20002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224145"/>
            <a:ext cx="75222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3. 设置当本机为Slave（从服务器）服务时，设置Master（主服务器）服务的IP地址及端口，在Redis启动时，它会自动从Master进行数据同步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736590"/>
            <a:ext cx="2628900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4</a:t>
            </a:r>
            <a:r>
              <a:rPr lang="zh-CN" altLang="en-US" sz="1400">
                <a:sym typeface="+mn-ea"/>
              </a:rPr>
              <a:t>. 当master服务设置了密码保护时，Slave服务连接Master的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50615"/>
            <a:ext cx="81984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5. 设置Redis的连接密码，如果配置了连接密码，客户端在连接Redis时需要使用AUTH命令提供密码，默认配置是关闭的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4363085"/>
            <a:ext cx="819912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6. 设置同一时间内客户端允许的最大连接数，如果设置 maxclients 0，表示不作限制。当客户端连的接数达到最大限制时，Redis会关闭新的连接并向客户端发送max number of clients reached错误信息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5075555"/>
            <a:ext cx="870839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7. 指定Redis的最大内存限制，Redis在启动时会把数据缓存到内存中，达到最大内存后，Redis会尝试清除已到期的Key，Redis新的vm（虚拟内存）机制，会把Key存放在内存，Value会存放在swap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467735"/>
            <a:ext cx="2343150" cy="18097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167505"/>
            <a:ext cx="1790700" cy="1905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4876800"/>
            <a:ext cx="1238250" cy="1905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586095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8</a:t>
            </a:r>
            <a:r>
              <a:rPr lang="zh-CN" altLang="en-US" sz="1400">
                <a:sym typeface="+mn-ea"/>
              </a:rPr>
              <a:t>. 指定Redis是否在每次执行更新操作后进行日志记录，在默认情况下Redis是异步的把内存中的数据写入到磁盘。如果不开启此选项，可能会在主机断电时丢失一段时间内的数据。该选项的默认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30375" y="3898900"/>
            <a:ext cx="40227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9.指定更新日志文件名，默认为appendonly.aof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8475" y="4472305"/>
            <a:ext cx="35782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0. 指定更新日志的条件，共有三个可选值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674110"/>
            <a:ext cx="1181100" cy="1905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237355"/>
            <a:ext cx="2505075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2034540" y="4788535"/>
            <a:ext cx="834898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no</a:t>
            </a:r>
            <a:r>
              <a:rPr lang="en-US" altLang="zh-CN" sz="1400">
                <a:sym typeface="+mn-ea"/>
              </a:rPr>
              <a:t>：表示等操作系统进行数据缓存后才同步到磁盘，特点是速度快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always</a:t>
            </a:r>
            <a:r>
              <a:rPr lang="en-US" altLang="zh-CN" sz="1400">
                <a:sym typeface="+mn-ea"/>
              </a:rPr>
              <a:t>：表示每次执行更新操作后，需要手动调用fsync()将数据写到磁盘，特点是速度慢，比较安全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everysec</a:t>
            </a:r>
            <a:r>
              <a:rPr lang="en-US" altLang="zh-CN" sz="1400">
                <a:sym typeface="+mn-ea"/>
              </a:rPr>
              <a:t>：表示每秒同步一次数据到磁盘，是上面两个可选项的折中选项，此选项是默认值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563870"/>
            <a:ext cx="178117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4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高级主题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16274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25275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908050" y="169418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</a:p>
        </p:txBody>
      </p:sp>
      <p:sp>
        <p:nvSpPr>
          <p:cNvPr id="2" name="矩形 1"/>
          <p:cNvSpPr/>
          <p:nvPr/>
        </p:nvSpPr>
        <p:spPr>
          <a:xfrm>
            <a:off x="908050" y="253555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事务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34270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4327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164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52269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25831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35022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43335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908050" y="342709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发布订阅</a:t>
            </a:r>
          </a:p>
        </p:txBody>
      </p:sp>
      <p:sp>
        <p:nvSpPr>
          <p:cNvPr id="16" name="矩形 15"/>
          <p:cNvSpPr/>
          <p:nvPr/>
        </p:nvSpPr>
        <p:spPr>
          <a:xfrm>
            <a:off x="908050" y="431863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</a:p>
        </p:txBody>
      </p:sp>
      <p:sp>
        <p:nvSpPr>
          <p:cNvPr id="17" name="矩形 16"/>
          <p:cNvSpPr/>
          <p:nvPr/>
        </p:nvSpPr>
        <p:spPr>
          <a:xfrm>
            <a:off x="908050" y="5253990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数据备份与恢复</a:t>
            </a:r>
          </a:p>
        </p:txBody>
      </p:sp>
      <p:sp>
        <p:nvSpPr>
          <p:cNvPr id="18" name="矩形 17"/>
          <p:cNvSpPr/>
          <p:nvPr/>
        </p:nvSpPr>
        <p:spPr>
          <a:xfrm>
            <a:off x="4350385" y="171386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性能测试</a:t>
            </a:r>
          </a:p>
        </p:txBody>
      </p:sp>
      <p:sp>
        <p:nvSpPr>
          <p:cNvPr id="21" name="矩形 20"/>
          <p:cNvSpPr/>
          <p:nvPr/>
        </p:nvSpPr>
        <p:spPr>
          <a:xfrm>
            <a:off x="4350385" y="2574290"/>
            <a:ext cx="19615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客户端</a:t>
            </a:r>
          </a:p>
        </p:txBody>
      </p:sp>
      <p:sp>
        <p:nvSpPr>
          <p:cNvPr id="22" name="矩形 21"/>
          <p:cNvSpPr/>
          <p:nvPr/>
        </p:nvSpPr>
        <p:spPr>
          <a:xfrm>
            <a:off x="4350385" y="353504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开机启动</a:t>
            </a:r>
          </a:p>
        </p:txBody>
      </p:sp>
      <p:sp>
        <p:nvSpPr>
          <p:cNvPr id="23" name="矩形 22"/>
          <p:cNvSpPr/>
          <p:nvPr/>
        </p:nvSpPr>
        <p:spPr>
          <a:xfrm>
            <a:off x="4350385" y="4314825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内存分析工具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1</a:t>
            </a:r>
            <a:r>
              <a:rPr lang="zh-CN" altLang="en-US" sz="1400">
                <a:sym typeface="+mn-ea"/>
              </a:rPr>
              <a:t>. 指定是否启用虚拟内存机制，此选项默认值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65354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2.指定虚拟内存文件路径，默认值为/tmp/redis.swap，不可多个Redis实例共享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43710" y="4206240"/>
            <a:ext cx="94526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3. 将所有大于vm-max-memory的数据存入虚拟内存,无论vm-max-memory设置多小,所有索引数据都是内存存储的(Redis的索引数据 就是keys),也就是说,当vm-max-memory设置为0的时候,其实是所有value都存在于磁盘，默认值为0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3450"/>
            <a:ext cx="1152525" cy="1905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985" y="4016375"/>
            <a:ext cx="2400300" cy="1905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36465"/>
            <a:ext cx="1314450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764030" y="4978400"/>
            <a:ext cx="926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24. Redis的swap文件分成了很多的page，一个对象可以保存在多个page上面，但一个page上不能被多个对象共享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25015" y="5374640"/>
            <a:ext cx="134302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5</a:t>
            </a:r>
            <a:r>
              <a:rPr lang="zh-CN" altLang="en-US" sz="1400">
                <a:sym typeface="+mn-ea"/>
              </a:rPr>
              <a:t>. 指定swap文件中的page数量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93033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6.指定访问swap文件的线程数, 此选项值最好不要超过机器的核数,如果设置为0,那么所有对swap文件的操作都是串行的，可能会造成比较长时间的延迟。此选项默认值为4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473575"/>
            <a:ext cx="9452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7. 指定在向客户端响应时，是否把较小的包合并为一个包发送，此选项的默认值为yes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8530"/>
            <a:ext cx="1609725" cy="2000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5015" y="4232910"/>
            <a:ext cx="1457325" cy="1905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86630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6545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Redis 的事务可以一次执行多个命令，有以下两个重要的特点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7254240" cy="11684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单独的隔离操作：事务中的所有命令都会按顺序执行。事务在执行的过程中，不会被其他客户端发送来的命令所打断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原子操作：事务中的命令要么全部被执行，要么全部都不执行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    一个事务会经历三个阶段，开始事务，命令入队，执行事务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如下图所示。</a:t>
            </a:r>
          </a:p>
        </p:txBody>
      </p:sp>
      <p:pic>
        <p:nvPicPr>
          <p:cNvPr id="10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631565"/>
            <a:ext cx="5135880" cy="80772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事务命令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22396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Redis事务的常用命令</a:t>
            </a:r>
            <a:r>
              <a:rPr lang="zh-CN" altLang="en-US" sz="1400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950720" y="2842260"/>
          <a:ext cx="750062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1665"/>
                <a:gridCol w="560895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DISCARD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取消事务，取消执行事务块内的所有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EXEC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执行所有事务块内的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MULTI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标记一个事务块的开始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WATCH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取消 WATCH 命令对所有 key 的监视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WATCH key [key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监视所有的key ，如果在事务执行之前这这些 key 被其他命令所改动，那么事务将被打断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915" y="2842260"/>
            <a:ext cx="4543425" cy="327025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105" y="2817495"/>
            <a:ext cx="2686050" cy="3409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625975" y="3699510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和1条sadd命令发出后，并没有立即执行而是放到了队列中，在调用exec命令后3个命令才被连续执行，最后返回的是3个命令的执行结果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取消一个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45199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我们可以调用discard命令来取消一个事务，让事务回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4382135" y="3015615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发出后，并没有立即执行而是放到了队列中，在调用discard命令后清空事务的命令队列并退出事务的上下文，也就是事务回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295" y="2632075"/>
            <a:ext cx="2390775" cy="296227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9068435" cy="23069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36600" indent="-721360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</a:t>
            </a:r>
            <a:r>
              <a:rPr sz="1600">
                <a:sym typeface="+mn-ea"/>
              </a:rPr>
              <a:t>：就是利用版本号比较机制，只是在读数据的时候，将读到的数据的版本号一起读出来，当对数据的操作结束后，准备写数据的时候，再进行一次数据的版本号的比较，若版本号没有变化，即认为数据是一致的，没有更改，可以直接写入。若版本号有变化，则认为数据被更新，不能写入，防止脏写。</a:t>
            </a:r>
          </a:p>
          <a:p>
            <a:pPr marL="725170" indent="-697865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工作机制</a:t>
            </a:r>
            <a:r>
              <a:rPr sz="1600">
                <a:sym typeface="+mn-ea"/>
              </a:rPr>
              <a:t>：watch命令会监视Redis给定的每一个key，当执行exec命令时如果监视的任何一个key自从调用watch命令后发生过变化，则整个事务会回滚，不执行任何动作。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932305"/>
            <a:ext cx="2265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乐观锁实例1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359660"/>
          <a:ext cx="8536940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28035"/>
                <a:gridCol w="2465070"/>
                <a:gridCol w="2743835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 21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zhangsan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MULTI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QUEUED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lisiQUEUE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开启事务，并提交命令：1.将当前age自增+1运算；2.将name值改为lisi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(integer) 2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EXEC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) (integer) 232) OK3) "23"4) 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lisi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发现age不是22，而是23，原因是被其它客户抢先给修改了。name值也修改了。这样可能导致数据不一致性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233930"/>
          <a:ext cx="8560435" cy="414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85820"/>
                <a:gridCol w="2407285"/>
                <a:gridCol w="2767330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FLUSHDB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zhangsan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age 21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WATCH age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MULTI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lisi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用watch命令监视age和name，然后开启事务，并提交队列命令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integer) 22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EXEC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nil)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2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由watch命令监控发现此期间age的值已经被修改过，则让整个事务回滚，不做任何动作。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watch命令可以同时监控多个键，在监控期间只要有一个键被其它客户端改变，则整个事务回滚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38655"/>
          <a:ext cx="3409315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9315"/>
              </a:tblGrid>
              <a:tr h="543560">
                <a:tc>
                  <a:txBody>
                    <a:bodyPr/>
                    <a:lstStyle/>
                    <a:p>
                      <a:pPr lvl="0" algn="l">
                        <a:buClrTx/>
                        <a:buSzTx/>
                        <a:buFontTx/>
                      </a:pPr>
                      <a:r>
                        <a:rPr lang="zh-CN" altLang="en-US" sz="1800" dirty="0">
                          <a:solidFill>
                            <a:schemeClr val="bg1"/>
                          </a:solidFill>
                          <a:sym typeface="+mn-ea"/>
                        </a:rPr>
                        <a:t>服务器配置</a:t>
                      </a:r>
                      <a:r>
                        <a:rPr lang="en-US" altLang="zh-CN" sz="1800" dirty="0">
                          <a:solidFill>
                            <a:schemeClr val="bg1"/>
                          </a:solidFill>
                          <a:sym typeface="+mn-ea"/>
                        </a:rPr>
                        <a:t>: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服务器允许远程主机访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客户端远程连接Redi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设置密码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端口修改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查看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修改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配置参数说明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4994275" y="1938655"/>
            <a:ext cx="5974715" cy="43694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/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版本和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版本的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里面，都有一个配置文件。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的配置文件位于 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安装目录下，在不同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是不一样的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1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redis.windows.conf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2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</a:t>
            </a:r>
            <a:r>
              <a:rPr lang="en-US" sz="2000" b="1">
                <a:latin typeface="+mn-ea"/>
                <a:cs typeface="+mn-ea"/>
              </a:rPr>
              <a:t>redis.conf</a:t>
            </a:r>
            <a:r>
              <a:rPr lang="zh-CN" sz="2000" b="0">
                <a:latin typeface="+mn-ea"/>
                <a:cs typeface="+mn-ea"/>
              </a:rPr>
              <a:t>。</a:t>
            </a:r>
          </a:p>
          <a:p>
            <a:pPr indent="266700"/>
            <a:r>
              <a:rPr lang="en-US" altLang="zh-CN" sz="2000" b="0">
                <a:latin typeface="+mn-ea"/>
                <a:cs typeface="+mn-ea"/>
              </a:rPr>
              <a:t>   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</a:t>
            </a:r>
            <a:r>
              <a:rPr lang="en-US" sz="2000" b="0">
                <a:latin typeface="+mn-ea"/>
                <a:cs typeface="+mn-ea"/>
              </a:rPr>
              <a:t> redis-server</a:t>
            </a:r>
            <a:r>
              <a:rPr lang="zh-CN" sz="2000" b="0">
                <a:latin typeface="+mn-ea"/>
                <a:cs typeface="+mn-ea"/>
              </a:rPr>
              <a:t>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时，可以在命令后面指定配置文件，</a:t>
            </a:r>
          </a:p>
          <a:p>
            <a:pPr indent="266700"/>
            <a:r>
              <a:rPr lang="zh-CN" sz="2000" b="0">
                <a:latin typeface="+mn-ea"/>
                <a:cs typeface="+mn-ea"/>
              </a:rPr>
              <a:t>例如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如下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b="0">
              <a:solidFill>
                <a:srgbClr val="000000"/>
              </a:solidFill>
              <a:latin typeface="+mn-ea"/>
              <a:cs typeface="+mn-ea"/>
            </a:endParaRPr>
          </a:p>
          <a:p>
            <a:pPr indent="266700"/>
            <a:r>
              <a:rPr lang="en-US" b="0">
                <a:solidFill>
                  <a:srgbClr val="000000"/>
                </a:solidFill>
                <a:latin typeface="+mn-ea"/>
                <a:cs typeface="+mn-ea"/>
              </a:rPr>
              <a:t>    $ </a:t>
            </a:r>
            <a:r>
              <a:rPr lang="en-US" b="1">
                <a:solidFill>
                  <a:srgbClr val="0000FF"/>
                </a:solidFill>
                <a:latin typeface="+mn-ea"/>
                <a:cs typeface="+mn-ea"/>
              </a:rPr>
              <a:t>redis-server /usr/local/redis/conf/redis.conf</a:t>
            </a:r>
            <a:endParaRPr lang="zh-CN" sz="2000" b="0">
              <a:latin typeface="+mn-ea"/>
              <a:cs typeface="+mn-ea"/>
            </a:endParaRPr>
          </a:p>
          <a:p>
            <a:pPr indent="266700"/>
            <a:r>
              <a:rPr lang="zh-CN" sz="2000" b="0">
                <a:latin typeface="+mn-ea"/>
                <a:cs typeface="+mn-ea"/>
              </a:rPr>
              <a:t>也可以通过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</a:t>
            </a:r>
            <a:r>
              <a:rPr lang="en-US" sz="2000" b="0">
                <a:latin typeface="+mn-ea"/>
                <a:cs typeface="+mn-ea"/>
              </a:rPr>
              <a:t>CONFIG</a:t>
            </a:r>
            <a:r>
              <a:rPr lang="zh-CN" sz="2000" b="0">
                <a:latin typeface="+mn-ea"/>
                <a:cs typeface="+mn-ea"/>
              </a:rPr>
              <a:t>命令对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配置文件进行查看或设置项。</a:t>
            </a:r>
            <a:endParaRPr lang="zh-CN" altLang="en-US" sz="2000" b="0">
              <a:latin typeface="+mn-ea"/>
              <a:cs typeface="+mn-ea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730375" y="2220595"/>
            <a:ext cx="758825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通过这个基于Redis的乐观锁的简单例子，我们可以得出一个结论：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1，乐观锁的实现，必须基于WATCH命令，然后利用Redis的事务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2， WATCH生命周期，只是和事务关联的，一个事务执行完毕，相应的watch的生命周期就会结束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91249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 发布订阅(pub/sub)是一种消息通信模式：发送者(pub)用来发送消息，订阅者(sub)用来接收消息。Redis客户端可以订阅任意数量的频道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98725"/>
            <a:ext cx="36588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下图展示了频道channel1,以及订阅这个频道的三个客户端client2、client5和client1之间的关系：</a:t>
            </a:r>
          </a:p>
        </p:txBody>
      </p:sp>
      <p:pic>
        <p:nvPicPr>
          <p:cNvPr id="6" name="图片 20" descr="C:\Users\Administrator\Desktop\aaa\pubsub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71968" y="3422015"/>
            <a:ext cx="3038475" cy="18859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文本框 6"/>
          <p:cNvSpPr txBox="1"/>
          <p:nvPr/>
        </p:nvSpPr>
        <p:spPr>
          <a:xfrm>
            <a:off x="2276475" y="5436235"/>
            <a:ext cx="18688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客户端订阅频道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475605" y="2498725"/>
            <a:ext cx="508000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当有新消息通过PUBLISH命令发送给频道 channel1 时，这个消息就会被发送给订阅它的三个客户端(client2,client5和client1)，如下图所示</a:t>
            </a:r>
          </a:p>
        </p:txBody>
      </p:sp>
      <p:pic>
        <p:nvPicPr>
          <p:cNvPr id="22" name="图片 22" descr="C:\Users\Administrator\Desktop\aaa\pubsub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40475" y="3422015"/>
            <a:ext cx="2678430" cy="24237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文本框 9"/>
          <p:cNvSpPr txBox="1"/>
          <p:nvPr/>
        </p:nvSpPr>
        <p:spPr>
          <a:xfrm>
            <a:off x="6720205" y="5847080"/>
            <a:ext cx="19196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客户端收到消息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397192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下面列出了Redis发布订阅常用的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7208" y="2306320"/>
          <a:ext cx="7687310" cy="243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86580"/>
                <a:gridCol w="3300730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SUBSCRIBE pattern [pattern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一个或多个符合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SUB subcommand [argument [argument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查看订阅与发布系统状态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LISH channel messag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将信息发送到指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NSUBSCRIBE [pattern [pattern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退订所有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SUBSCRIBE channel [channel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给定的一个或多个频道的信息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SUBSCRIBE [channel [channel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退订给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915162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下实例演示了发布订阅是如何工作的。</a:t>
            </a:r>
          </a:p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首先，打开一个客户端连接Redis服务器，作为订阅者接收消息。在本实例中我们创建一个订阅频道，命名为 </a:t>
            </a:r>
            <a:r>
              <a:rPr lang="zh-CN" altLang="en-US" sz="1400">
                <a:solidFill>
                  <a:srgbClr val="0000FF"/>
                </a:solidFill>
                <a:sym typeface="+mn-ea"/>
              </a:rPr>
              <a:t>redisChat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960370"/>
            <a:ext cx="3638550" cy="1057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42745" y="4130040"/>
            <a:ext cx="856932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其次，重新开启一个 Redis 客户端，作为发送者发送消息，然后在同一个频道 redisChat 发布两次消息，订阅者就能接收到消息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0535" y="4757420"/>
            <a:ext cx="3848100" cy="104775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27178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订阅者的客户端会显示如下消息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529840"/>
            <a:ext cx="3800475" cy="232410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1025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是一个客户端-服务器(CS)模型的TCP 服务器，使用和HTTP类似的请求相应协议，一个客户端可以通过一个Socket连续发送多个请求命令，每个请求命令发出后客户端通常会阻塞并等待Redis服务器处理，Redis处理完请求后会将结果通过响应报文返回给客户端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2861310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管道(pipline)可以一次性发送多条命令并在Redis执行完后一次性将结果返回，管道可以减少客户端与Redis服务器的通信次数来降低往返延时时间，管道实现的原理是队列，队列遵循先进先出原则，这样就保证数据的顺序行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642745" y="3905885"/>
            <a:ext cx="93351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Redis 管道技术可以在Redis服务端启动时，在Redis客户端向服务端发送请求(Request)，并一次性读取所有Redis服务端的响应(Response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202815"/>
            <a:ext cx="28676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>
                <a:sym typeface="+mn-ea"/>
              </a:rPr>
              <a:t>在Linux客户端新建脚本pipline.sh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2595" y="2509520"/>
            <a:ext cx="3067050" cy="1905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712595" y="2713990"/>
            <a:ext cx="222948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使用vi命令修改pipline.sh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9420" y="3006725"/>
            <a:ext cx="2733675" cy="2095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712595" y="3256280"/>
            <a:ext cx="60953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在pipline.sh添加以下内容，本脚本文件名为 ”Redis\Chapter04\pipline.sh”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2595" y="3568700"/>
            <a:ext cx="6229350" cy="6096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12595" y="4184015"/>
            <a:ext cx="30905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给piplin.sh脚本赋予可执行命令权限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2595" y="4479925"/>
            <a:ext cx="3248025" cy="1905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09420" y="4726305"/>
            <a:ext cx="164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执行pipline.sh脚本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8630" y="5011420"/>
            <a:ext cx="27717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474595" y="5458460"/>
            <a:ext cx="5080000" cy="25273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zh-CN" sz="1050" b="0">
                <a:latin typeface="Calibri" panose="020F0502020204030204" charset="0"/>
                <a:ea typeface="宋体" panose="02010600030101010101" pitchFamily="2" charset="-122"/>
              </a:rPr>
              <a:t>得到以下内容</a:t>
            </a:r>
            <a:endParaRPr lang="zh-CN" altLang="en-US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13690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得到以下内容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0855" y="2509520"/>
            <a:ext cx="2800350" cy="23145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695825" y="2509520"/>
            <a:ext cx="5080000" cy="8661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以上实例中我们通过使用 PING 命令查看Redis服务是否可用， 之后我们设置了 db的值为 redis，然后我们获取 db的值，并使得 visitor 自增 3 次并获得visitor的值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95825" y="3375660"/>
            <a:ext cx="4184015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打开一个终端，并使用redis-cli连接到Redis Server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695825" y="4630420"/>
            <a:ext cx="4928870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从上面结果可以看出Redis数据库已经存储db和visitor键值了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455" y="3724910"/>
            <a:ext cx="2390775" cy="828675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1 </a:t>
            </a:r>
            <a:r>
              <a:rPr lang="zh-CN" altLang="en-US">
                <a:sym typeface="+mn-ea"/>
              </a:rPr>
              <a:t>数据备份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38817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SAVE命令用于创建当前数据库的备份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509520"/>
            <a:ext cx="228917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Save命令的基本语法如下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425" y="2861310"/>
            <a:ext cx="17145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60855" y="3122930"/>
            <a:ext cx="37077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实例：使用SAVE命令创建当前数据库的备份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491230"/>
            <a:ext cx="1800225" cy="4095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760855" y="3962400"/>
            <a:ext cx="400558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该命令将在 Redis 安装目录中创建dump.rdb文件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2 </a:t>
            </a:r>
            <a:r>
              <a:rPr lang="zh-CN" altLang="en-US">
                <a:sym typeface="+mn-ea"/>
              </a:rPr>
              <a:t>数据恢复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如果需要恢复数据，只需将一台Redis服务器上的快照文件 (dump.rdb) 移动到另一台Redis服务器的安装目录并启动服务即可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817495"/>
            <a:ext cx="42894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获取 Redis 目录可以使用 CONFIG 命令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3131185"/>
            <a:ext cx="2619375" cy="61912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60855" y="390588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在本例中使用CONFIG GET dir命令输出的 Redis安装目录为 /usr/local/redis/bin。创建Redis备份文件也可以使用BGSAVE命令，该命令在后台执行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4835" y="4427855"/>
            <a:ext cx="2286000" cy="4000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0045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主机需要远程访问Redis服务器，可以修改Redis的配置文件redis.conf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文件中bind字段默认为： bind 127.0.0.1 表示只能在本机访问Redis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如下图所示：</a:t>
            </a:r>
            <a:r>
              <a:rPr lang="en-US" altLang="zh-CN">
                <a:sym typeface="+mn-ea"/>
              </a:rPr>
              <a:t>(修改redis.conf配置文件的bind字段允许远程主机访问Redis服务器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63" name="图片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510" y="3411855"/>
            <a:ext cx="504698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50196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性能测试是通过同时执行多个命令实现的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271399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性能测试的基本命令如下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2509520"/>
            <a:ext cx="33147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54835" y="2782570"/>
            <a:ext cx="40335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实例：同时执行10000个请求来检测Redis的性能</a:t>
            </a:r>
          </a:p>
        </p:txBody>
      </p:sp>
      <p:pic>
        <p:nvPicPr>
          <p:cNvPr id="278" name="图片 2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8355" y="2310765"/>
            <a:ext cx="2247900" cy="4064000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42456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 性能测试工具可选参数如下所示</a:t>
            </a:r>
            <a:r>
              <a:rPr lang="zh-CN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154748" y="2282825"/>
          <a:ext cx="5220970" cy="33282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380"/>
                <a:gridCol w="3663315"/>
                <a:gridCol w="930275"/>
              </a:tblGrid>
              <a:tr h="25590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选项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默认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h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主机名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端口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s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定服务器 socke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c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并发连接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5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n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请求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000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字节的形式指定 SET/GET 值的数据大小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k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=keep alive 0=reconnec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r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ET/GET/INCR 使用随机 key, SADD 使用随机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通过管道传输 &lt;numreq&gt; 请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q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强制退出 redis。仅显示 query/sec 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-csv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 CSV 格式输出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l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生成循环，永久执行测试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仅运行以逗号分隔的测试命令列表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I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idle 模式，仅打开 N 个 idle 连接并等待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591300" y="2202815"/>
            <a:ext cx="326517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实例：使用多个参数来测试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性能</a:t>
            </a:r>
            <a:endParaRPr lang="zh-CN" altLang="en-US" sz="1400" b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1300" y="2509520"/>
            <a:ext cx="5267325" cy="6000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91300" y="3235325"/>
            <a:ext cx="5080000" cy="737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上实例中连接Redis的主机为 127.0.0.1，端口号为 6379，执行SET命令和LPUSH命令，请求数为 10000，通过-q参数让结果只显示每秒执行的请求数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91776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在Redis 2.4版本中，最大连接数是被直接硬编码写在代码里面的，而在Redis 2.6以后的版本中这个值变成可配置的</a:t>
            </a:r>
            <a:r>
              <a:rPr lang="zh-CN">
                <a:sym typeface="+mn-ea"/>
              </a:rPr>
              <a:t>；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88565"/>
            <a:ext cx="748792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maxclients的默认值是10000，也可以在 redis.conf 中对这个值进行修改</a:t>
            </a:r>
            <a:r>
              <a:rPr lang="zh-CN">
                <a:sym typeface="+mn-ea"/>
              </a:rPr>
              <a:t>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345" y="2865755"/>
            <a:ext cx="3143250" cy="6191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533140"/>
            <a:ext cx="64414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>
                <a:sym typeface="+mn-ea"/>
              </a:rPr>
              <a:t>以下实例可以在Redis服务启动时，设置最大连接数为100000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0716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客户端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6573" y="2202815"/>
          <a:ext cx="6477318" cy="16642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46313"/>
                <a:gridCol w="4231005"/>
              </a:tblGrid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LIST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返回连接到 Redis 服务的客户端列表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S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设置当前连接的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G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获取通过 CLIENT SETNAME 命令设置的服务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PAUS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挂起客户端连接，指定挂起的时间以毫秒计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KILL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关闭客户端连接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642745" y="3959860"/>
            <a:ext cx="311404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客户端命令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使用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下图所示：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80" name="图片 2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6890" y="4362450"/>
            <a:ext cx="4869180" cy="1089660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689975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每次启动Redis服务器都需要使用redis-server命令，稍显繁琐，当然也可以把redis-server命令放在启动脚本里，每次运行脚本就可以启动Redis服务器了，但有没有更好的方法，让主机每次开机后就自动启动Redis服务器呢？</a:t>
            </a:r>
          </a:p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答案是肯定的，这就是本节主要讨论的内容</a:t>
            </a:r>
            <a:r>
              <a:rPr lang="zh-CN" sz="200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292862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注册Redis为Windows后台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546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Redis的目录下执行以下命令，执行后就作为Windows服务了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395" y="3550920"/>
            <a:ext cx="4105275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87525" y="3742055"/>
            <a:ext cx="3125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如果执行命令成功后，会如下图所示</a:t>
            </a:r>
          </a:p>
        </p:txBody>
      </p:sp>
      <p:pic>
        <p:nvPicPr>
          <p:cNvPr id="11279" name="图片 112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0395" y="4059555"/>
            <a:ext cx="5274310" cy="6324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74520" y="4755515"/>
            <a:ext cx="557974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按”Win + R”快捷键运行services.msc 命令，就可以看到Redis已经作为Windows的后台服务了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14973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启动Redis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2033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中去，Redis并没有启动，也可以通过在Windows服务列表中开启。Redis启动命令如下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874520" y="5121275"/>
            <a:ext cx="26022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卸载Redis服务的命令如下所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777615"/>
            <a:ext cx="2409825" cy="2000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 rot="10800000" flipV="1">
            <a:off x="1642745" y="3990340"/>
            <a:ext cx="17113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74520" y="4271010"/>
            <a:ext cx="208978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停止命令如下所示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4520" y="4567555"/>
            <a:ext cx="2314575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692275" y="4803140"/>
            <a:ext cx="161290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卸载Redis服务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4520" y="5480685"/>
            <a:ext cx="27527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06320"/>
            <a:ext cx="1108075" cy="3956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注意事项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92275" y="2693035"/>
            <a:ext cx="81521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后，就可以使用Windows命令开启/停止Redis服务,如下图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99590" y="302387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770" y="337820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799590" y="373888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770" y="4078605"/>
            <a:ext cx="1333500" cy="180975"/>
          </a:xfrm>
          <a:prstGeom prst="rect">
            <a:avLst/>
          </a:prstGeom>
        </p:spPr>
      </p:pic>
      <p:pic>
        <p:nvPicPr>
          <p:cNvPr id="76" name="图片 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0770" y="4323080"/>
            <a:ext cx="1922780" cy="1402080"/>
          </a:xfrm>
          <a:prstGeom prst="rect">
            <a:avLst/>
          </a:prstGeom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18351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修改redis.conf文件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为了让redis-server能在系统启动时自动运行，需要将Redis服务作为守护进程（daemon）来运行，我们回到/usr/local/redis/conf目录中找到redis.conf的文件，这个文件是Redis服务运行时加载的配置文件，使用以下命令查看其中的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486150"/>
            <a:ext cx="3095625" cy="1714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16735" y="3682365"/>
            <a:ext cx="8558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此文件内容非常长，但是大部分内容是注释，我们重点关注其中的两个设置：daemonize和pidfile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816735" y="4010025"/>
            <a:ext cx="8435975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a) 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daemonize</a:t>
            </a:r>
          </a:p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false，为了让Redis能在Linux启动时自动运行，需要将Redis服务作为守护进程（daemon）来运行, 需要把它改成daemonize yes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845945" y="4863465"/>
            <a:ext cx="8377555" cy="12744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olidFill>
                  <a:srgbClr val="00005C"/>
                </a:solidFill>
                <a:sym typeface="+mn-ea"/>
              </a:rPr>
              <a:t>b)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 pidfile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pidfile /var/run/redis_6379.pid,表示当服务以守护进程方式运行时，Redis默认会把pid写入到/var/run/redis_6379.pid文件，服务运行中该文件就存在，服务一旦停止该文件就会自动删除，因而可以用来判断Redis是否正在运行,该选项不用修改。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保存redis.conf后退出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有了基本配置，Redis还需要有一个管理启动、关闭和重启的脚本。在Redis的源码里已经提供了一个初始化脚本redis_init_script。这个初始化脚本的位置在 %/redis-6.0.6/utils/目录下.</a:t>
            </a:r>
          </a:p>
        </p:txBody>
      </p:sp>
      <p:pic>
        <p:nvPicPr>
          <p:cNvPr id="81" name="图片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6735" y="3222943"/>
            <a:ext cx="527431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允许远程主机访问Redis服务器，可以将bind 127.0.0.1改为： bind 0.0.0.0</a:t>
            </a:r>
          </a:p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找到这一项 daemonize no ,把这一项的 no 改成 yes,这一项主要是开启Redis的守护进程,可以在Linux启动时自动运行Redis，将Redis服务作为守护进程（daemon）来运行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8490" y="3911600"/>
            <a:ext cx="2181225" cy="31369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88490" y="4302760"/>
            <a:ext cx="8907145" cy="4508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关闭protected-mode模式，让外部网络可以直接访问Redis, 在配置文件中找到这一项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8490" y="4753610"/>
            <a:ext cx="2180590" cy="32131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069715" y="4780280"/>
            <a:ext cx="2776220" cy="3397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9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把这一项的yes 改成 no。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1655" y="266890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_init_script脚本中指定了端口、Server路径、CLI路径、PIDFILE路径以及CONF路径，在安装时执行了”make install”命令后，这个脚本不需要做多大改动，因为”make install”命令会把Redis的可执行命令都拷到目录/usr/local/bin下面了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11655" y="3996055"/>
            <a:ext cx="3952240" cy="1510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只需要修改CONF选项对应的Redis配置文件为Linux平台使用的redis.conf文件就可以。在笔者的Linux机器上，Redis配置文件保存在 /usr/local/redis/conf/redis.conf文件下，读者需要根据实际情况进行修改，修改后的 redis_init_script脚本</a:t>
            </a:r>
            <a:r>
              <a:rPr lang="zh-CN" altLang="en-US" sz="1400">
                <a:sym typeface="+mn-ea"/>
              </a:rPr>
              <a:t>见右侧：</a:t>
            </a:r>
          </a:p>
        </p:txBody>
      </p:sp>
      <p:pic>
        <p:nvPicPr>
          <p:cNvPr id="85" name="图片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2615" y="3526790"/>
            <a:ext cx="4444365" cy="2465705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将redis_init_script 脚本拷贝到/etc/init.d目录下并修改名字为redis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240" y="2668905"/>
            <a:ext cx="3371850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11655" y="2921000"/>
            <a:ext cx="2335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给 redis文件授予读写权限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0240" y="3246755"/>
            <a:ext cx="242887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667760"/>
            <a:ext cx="162623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开启服务自启动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811655" y="4076065"/>
            <a:ext cx="569595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/etc/init.d下的脚本都是可以在Linux操作系统启动时自动启动的服务，还需要一个系统启动时的配置, 开启Redis服务自启动命令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0240" y="4721225"/>
            <a:ext cx="17240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5 启动Redis服务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523811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重启CentOS之后，就可以执行以下命令启动或停止Redis服务了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6490" y="336677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45310" y="372745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490" y="4067175"/>
            <a:ext cx="1333500" cy="1809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845310" y="4276090"/>
            <a:ext cx="218376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以上命令等价于以下命令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6490" y="4596765"/>
            <a:ext cx="2190750" cy="409575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51025"/>
            <a:ext cx="8909685" cy="7556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>
                <a:sym typeface="+mn-ea"/>
              </a:rPr>
              <a:t>redis-rdb-tools是由Python写的用来分析Redis的rdb快照文件用的工具，在分析内存的时候，我们主要用它生成Redis的内存快照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194691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, 安装redis-rdb-tools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870712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安装redis-rdb-tools前需要配置Python环境，这部分的内容请参考本书的11.7.2 在Linux下安装Python3，配置好Python环境后安装redis-rdb-tools可以通过Python的pip来安装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620" y="3592195"/>
            <a:ext cx="290512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5310" y="3917315"/>
            <a:ext cx="1474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, 分析RDB快照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845310" y="4276090"/>
            <a:ext cx="476567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首先在Redis客户端生成两条String类型的数据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9620" y="4634865"/>
            <a:ext cx="2800350" cy="1009650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554480" y="1851025"/>
            <a:ext cx="44284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然后，把Redis的RDB快照内存分析报告输出到控制台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480" y="2178685"/>
            <a:ext cx="6334125" cy="10477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3200" y="3237865"/>
            <a:ext cx="904748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在生成的报表中有database（key在Redis的db）、type（key类型）、key（key值）、size_in_bytes（key的内存大小）、encoding（value的存储编码形式）、num_elements（key中的value的个数）、len_largest_element（key中的value的长度）和expiry（key的过期时间）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473200" y="4014470"/>
            <a:ext cx="904748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从测试报告的返回结果可以看出key为age的string类型数据占用了46个字节，key为name的string类型数据占用了64个字节。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473200" y="4578985"/>
            <a:ext cx="578929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也可以使用以下命令把Redis的rdb内存分析报告生成到memory.csv文件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4005" y="4906645"/>
            <a:ext cx="6324600" cy="1247775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630420" y="2691765"/>
            <a:ext cx="2713990" cy="147447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3328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远程连接Redis需要使用redis-cli命令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用法：redis-cli [OPTIONS] [cmd [arg [arg ...]]]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redis-cli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命令的关键参数如下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h : 主机ip，默认是127.0.0.1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p : 端口，默认是6379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a : 密码，如果Redis设置了密码，需要传递密码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假设有两台Redis服务器，服务器IP分别是：192.168.1.11和192.168.1.14。现在需要在192.168.1.11上通过redis-cli命令远程访问192.168.1.14上的Redis服务器，在192.168.1.11上通过以下命令远程连接192.168.1.14上的Redis服务器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7845" y="2330450"/>
            <a:ext cx="3305175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07845" y="3571240"/>
            <a:ext cx="54108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通过本例，客户端远程连接到192.168.1.14上的Redis服务，设置了1个string值, 使 age等于20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729740" y="2381885"/>
            <a:ext cx="775906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Redis配置文件来设置密码参数，客户端连接到 Redis就需要密码验证，可以让Redis服务更安全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108325"/>
            <a:ext cx="26720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修改Redis密码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272405" y="3599180"/>
            <a:ext cx="556958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CONFIG GET requirepass</a:t>
            </a:r>
            <a:r>
              <a:rPr lang="zh-CN" altLang="en-US">
                <a:sym typeface="+mn-ea"/>
              </a:rPr>
              <a:t>命令查看Redis是否设置了密码验证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5410" y="3596005"/>
            <a:ext cx="3750310" cy="72009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72405" y="4456430"/>
            <a:ext cx="583692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默认情况下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 requirepass</a:t>
            </a:r>
            <a:r>
              <a:rPr lang="zh-CN" altLang="en-US">
                <a:sym typeface="+mn-ea"/>
              </a:rPr>
              <a:t> 对应的参数是空的，即没有密码，表示无需通过密码验证就可以连接到 Redis 服务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然后设置Redis的当前密码为”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>
                <a:sym typeface="+mn-ea"/>
              </a:rPr>
              <a:t>”，Redis服务重新启动后又会设置为默认，即没有密码，不建议此种方式设置密码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5410" y="4580255"/>
            <a:ext cx="3750310" cy="101536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082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Redis密码的完整实验如下所示，输入redis-cli命令连接Redis服务器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150" y="2761615"/>
            <a:ext cx="4914900" cy="27717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835150" y="5594350"/>
            <a:ext cx="60248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重新设置密码后，需要重新登录Redis才能获取操作权限。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a4ebca9-81f2-41a7-9380-2f55dd0243da}"/>
  <p:tag name="TABLE_ENDDRAG_ORIGIN_RECT" val="590*172"/>
  <p:tag name="TABLE_ENDDRAG_RECT" val="153*223*590*1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b74c124-8929-412e-b2ae-c6f30d7778ac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6ab1469-9042-4e93-a931-f580a1d96c84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c65fdc2-227e-4dfa-84ed-3efc3d5afc33}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4042</Words>
  <Application>Microsoft Office PowerPoint</Application>
  <PresentationFormat>宽屏</PresentationFormat>
  <Paragraphs>518</Paragraphs>
  <Slides>5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62" baseType="lpstr">
      <vt:lpstr>宋体</vt:lpstr>
      <vt:lpstr>微软雅黑</vt:lpstr>
      <vt:lpstr>Arial</vt:lpstr>
      <vt:lpstr>Calibri</vt:lpstr>
      <vt:lpstr>Courier New</vt:lpstr>
      <vt:lpstr>Times New Roman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87</cp:revision>
  <cp:lastPrinted>2019-04-18T16:00:00Z</cp:lastPrinted>
  <dcterms:created xsi:type="dcterms:W3CDTF">2019-04-18T16:00:00Z</dcterms:created>
  <dcterms:modified xsi:type="dcterms:W3CDTF">2022-03-11T08:5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